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94" r:id="rId2"/>
    <p:sldId id="306" r:id="rId3"/>
    <p:sldId id="321" r:id="rId4"/>
    <p:sldId id="322" r:id="rId5"/>
    <p:sldId id="307" r:id="rId6"/>
    <p:sldId id="309" r:id="rId7"/>
    <p:sldId id="308" r:id="rId8"/>
    <p:sldId id="310" r:id="rId9"/>
    <p:sldId id="311" r:id="rId10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3" d="100"/>
          <a:sy n="83" d="100"/>
        </p:scale>
        <p:origin x="1536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3.05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3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3.05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3.05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3.05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3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3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10464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«Детский сад №23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карты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 </a:t>
            </a: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.В.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Юзеев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766358" y="3257781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эвакуации детей и сотрудников МБДОУ «ДС №23» при срабатывании АПС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5_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794762" y="-567032"/>
            <a:ext cx="5708836" cy="8075240"/>
          </a:xfrm>
          <a:prstGeom prst="rect">
            <a:avLst/>
          </a:prstGeom>
        </p:spPr>
      </p:pic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57200" y="1369047"/>
            <a:ext cx="8229600" cy="4525963"/>
          </a:xfrm>
        </p:spPr>
        <p:txBody>
          <a:bodyPr>
            <a:normAutofit fontScale="92500" lnSpcReduction="10000"/>
          </a:bodyPr>
          <a:lstStyle/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Юзеева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Марина Владимировна, заведующий</a:t>
            </a:r>
            <a:endParaRPr lang="ru-RU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:</a:t>
            </a:r>
          </a:p>
          <a:p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зурова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Елена Фёдоровна, старший воспитатель</a:t>
            </a:r>
          </a:p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влова Татьяна Николаевна, заместитель заведующего по АХР</a:t>
            </a:r>
          </a:p>
          <a:p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истанова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ветлана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тальевна, музыкальный руководитель</a:t>
            </a:r>
          </a:p>
          <a:p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вистёлка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льга Николаевна, воспитатель</a:t>
            </a:r>
            <a:endParaRPr lang="ru-RU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демидько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ксана Александровна, председатель Совета родителей(законных представителей) ДОУ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21028777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7704" y="953945"/>
            <a:ext cx="5941347" cy="51613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95435" y="1340768"/>
            <a:ext cx="3602696" cy="4550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50221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928829" y="2046745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123844" y="6456123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– 6 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. 40 сек. </a:t>
            </a: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212283"/>
              </p:ext>
            </p:extLst>
          </p:nvPr>
        </p:nvGraphicFramePr>
        <p:xfrm>
          <a:off x="431589" y="2491033"/>
          <a:ext cx="1751856" cy="128049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989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лучение информации о причине срабатывания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АПС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0 сек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628869"/>
              </p:ext>
            </p:extLst>
          </p:nvPr>
        </p:nvGraphicFramePr>
        <p:xfrm>
          <a:off x="3746687" y="4486772"/>
          <a:ext cx="4978605" cy="196593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9786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Временные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затраты педагога, связанные с длительным процессом сбора воспитанников для проведения тренировочной эвакуаци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Временные затраты педагога, связанные со сбором необходимой документаци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Временные затраты, связанные с лишними движениями сотрудников ДОУ при эвакуаци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Временные затраты, связанные с длительным процессом построения воспитанников в месте сбора, доклад педагога. 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25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06772" y="2450229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697663" y="4439115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4664786" y="4154113"/>
            <a:ext cx="3457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4259491" y="1885004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8320881" y="1902282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6520476" y="1936734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436479" y="747095"/>
            <a:ext cx="8251773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</a:t>
            </a:r>
          </a:p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эвакуации детей и сотрудников МБДОУ «ДС №23»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 срабатывании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ПС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 algn="ctr"/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4702398"/>
              </p:ext>
            </p:extLst>
          </p:nvPr>
        </p:nvGraphicFramePr>
        <p:xfrm>
          <a:off x="2650083" y="2518408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детей около воспитателя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5151"/>
              </p:ext>
            </p:extLst>
          </p:nvPr>
        </p:nvGraphicFramePr>
        <p:xfrm>
          <a:off x="4859338" y="2539810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необходимой документации педагог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8841520"/>
              </p:ext>
            </p:extLst>
          </p:nvPr>
        </p:nvGraphicFramePr>
        <p:xfrm>
          <a:off x="7150677" y="2522058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Эвакуация детей и взрослых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5686162"/>
              </p:ext>
            </p:extLst>
          </p:nvPr>
        </p:nvGraphicFramePr>
        <p:xfrm>
          <a:off x="792312" y="4655680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строение в месте сбора,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доклад.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07202" y="2046746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37801" y="201845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11037" y="1966945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1250297" y="421642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472126" y="2852357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6655784" y="2904247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225454" y="2852357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 вправо 43"/>
          <p:cNvSpPr/>
          <p:nvPr/>
        </p:nvSpPr>
        <p:spPr>
          <a:xfrm>
            <a:off x="229587" y="5006593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Пятно 1 60"/>
          <p:cNvSpPr/>
          <p:nvPr/>
        </p:nvSpPr>
        <p:spPr>
          <a:xfrm>
            <a:off x="106772" y="4192909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4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55275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27287285"/>
              </p:ext>
            </p:extLst>
          </p:nvPr>
        </p:nvGraphicFramePr>
        <p:xfrm>
          <a:off x="123845" y="1024381"/>
          <a:ext cx="8833888" cy="5700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3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16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446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41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я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ремени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 педагога, связанные с длительным процессом сбора воспитанников для проведения тренировочной эвакуации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и бегут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 вещами в раздевалку. Боятся громкого звука АПС.</a:t>
                      </a:r>
                    </a:p>
                    <a:p>
                      <a:pPr algn="just"/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овали при инструктаже.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, доступного пониманию детей разного возраста.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означить место сбора и нанести разметку путей эвакуации в каждой возрастной группе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40 сек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ременные затраты педагога, связанные со сбором необходимой документации педагога.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 не ориентируется в документах, нет систематизации.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кировка необходимой документации,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лки для неё, обусловленным знаком.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kumimoji="0" lang="ru-RU" altLang="ru-RU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ин</a:t>
                      </a:r>
                      <a:r>
                        <a:rPr kumimoji="0" lang="ru-RU" altLang="ru-RU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– 40 сек.</a:t>
                      </a:r>
                      <a:endParaRPr kumimoji="0" lang="ru-RU" altLang="ru-RU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, связанные с лишними движениями сотрудников ДОУ при эвакуации</a:t>
                      </a:r>
                      <a:endParaRPr lang="ru-RU" sz="14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согласованные действия сотрудников.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сотрудников ДОУ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-1 мин</a:t>
                      </a:r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ременные затраты, связанные с длительным процессом построения воспитанников в месте сбора, доклад педагога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согласованные действия сотрудников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овали при инструктаже как дети, так и сотрудники.</a:t>
                      </a:r>
                      <a:endParaRPr 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, доступного пониманию детей разного возраста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 для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трудников ДОУ.</a:t>
                      </a:r>
                      <a:endParaRPr lang="ru-RU" sz="14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</a:t>
                      </a: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.</a:t>
                      </a: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30070" y="524614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429" y="33705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17133" y="66112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174249162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03663" y="1396386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36830" y="2618192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624437" y="3784394"/>
            <a:ext cx="4196035" cy="2226684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педагога, связанные с длительным процессом сбора воспитанников для проведения тренировочной эвакуации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педагога, связанные со сбором необходимой </a:t>
            </a:r>
            <a:r>
              <a:rPr lang="ru-RU" alt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кументации педагога.</a:t>
            </a:r>
          </a:p>
          <a:p>
            <a:pPr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, связанные с лишними движениями сотрудников ДОУ при эвакуации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Временные затраты, связанные с длительным процессом построения воспитанников в месте сбора, доклад педагога.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46458754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10890" y="6069520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мин 50 сек</a:t>
            </a:r>
            <a:r>
              <a:rPr lang="ru-RU" sz="1600" b="1" dirty="0" smtClean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1600" b="1" dirty="0">
              <a:solidFill>
                <a:srgbClr val="00B0F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2397795" y="4129367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88245" y="2471272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-29854" y="822551"/>
            <a:ext cx="8893621" cy="10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Карта целевого состояния процесса </a:t>
            </a:r>
            <a:endParaRPr lang="ru-RU" sz="24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эвакуации детей и сотрудников МБДОУ «ДС №23» при срабатывании АПС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43608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97976" y="292494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7" name="Стрелка вправо 36"/>
          <p:cNvSpPr/>
          <p:nvPr/>
        </p:nvSpPr>
        <p:spPr>
          <a:xfrm>
            <a:off x="5807015" y="2856560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8428037" y="2794761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3933468" y="198995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7007292" y="1966761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22946" y="39856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/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4914949" y="2036274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5823038" y="2003466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47" name="Облако 46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5507070" y="2447037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4895129" y="3941657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174709"/>
              </p:ext>
            </p:extLst>
          </p:nvPr>
        </p:nvGraphicFramePr>
        <p:xfrm>
          <a:off x="4090181" y="4360589"/>
          <a:ext cx="4859729" cy="170685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8597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, доступного пониманию детей разного возраста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означить место сбора и нанести разметку путей эвакуации в каждой возрастной группе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кировка необходимой документации,</a:t>
                      </a:r>
                      <a:r>
                        <a:rPr lang="ru-RU" sz="11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лки для неё, обусловленным знаком.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</a:t>
                      </a:r>
                      <a:r>
                        <a:rPr lang="ru-RU" sz="11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сотрудников ДОУ.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2" name="Облако 51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7932264" y="2052573"/>
            <a:ext cx="631935" cy="351615"/>
          </a:xfrm>
          <a:prstGeom prst="cloud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53" name="Облако 52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8353361" y="2437287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4</a:t>
            </a:r>
          </a:p>
        </p:txBody>
      </p:sp>
      <p:graphicFrame>
        <p:nvGraphicFramePr>
          <p:cNvPr id="48" name="Таблица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6880124"/>
              </p:ext>
            </p:extLst>
          </p:nvPr>
        </p:nvGraphicFramePr>
        <p:xfrm>
          <a:off x="515888" y="2445834"/>
          <a:ext cx="1751856" cy="128049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989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лучение информации о причине срабатывания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АПС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 сек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713546"/>
              </p:ext>
            </p:extLst>
          </p:nvPr>
        </p:nvGraphicFramePr>
        <p:xfrm>
          <a:off x="2937377" y="2450628"/>
          <a:ext cx="2515655" cy="12670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5156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детей около воспитателя, необходимой документации педагог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. 20 сек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0702976"/>
              </p:ext>
            </p:extLst>
          </p:nvPr>
        </p:nvGraphicFramePr>
        <p:xfrm>
          <a:off x="6452833" y="2510706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Эвакуация детей и взрослых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4" name="Таблица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5304169"/>
              </p:ext>
            </p:extLst>
          </p:nvPr>
        </p:nvGraphicFramePr>
        <p:xfrm>
          <a:off x="468487" y="4438812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строение в месте сбора,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доклад.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210065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1704" name="Object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9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99183047"/>
              </p:ext>
            </p:extLst>
          </p:nvPr>
        </p:nvGraphicFramePr>
        <p:xfrm>
          <a:off x="131413" y="1307550"/>
          <a:ext cx="8831416" cy="47552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10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194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815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694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Ответственный</a:t>
                      </a:r>
                      <a:r>
                        <a:rPr lang="ru-RU" sz="1400" baseline="0" dirty="0"/>
                        <a:t> </a:t>
                      </a:r>
                      <a:endParaRPr lang="ru-RU" sz="14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 педагога, связанные с длительным процессом сбора воспитанников для проведения тренировочной эвакуации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, доступного пониманию детей разного возраста.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означить место сбора и нанести разметку путей эвакуации в каждой возрастной группе</a:t>
                      </a:r>
                    </a:p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председатель творческой группы педагогов) </a:t>
                      </a:r>
                      <a:r>
                        <a:rPr lang="ru-RU" sz="1400" b="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истёлка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.Н.</a:t>
                      </a:r>
                    </a:p>
                    <a:p>
                      <a:pPr algn="just"/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седатель Совета родителей ДОУ </a:t>
                      </a:r>
                      <a:r>
                        <a:rPr lang="ru-RU" sz="1400" b="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демидько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.А.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07.04.2025гпо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0.04.2025г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, связанные с лишними движениями сотрудников ДОУ при эвакуации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сотрудников ДОУ.</a:t>
                      </a:r>
                      <a:endParaRPr lang="ru-RU" sz="14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кировка необходимой документации,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лки для неё, обусловленным знаком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м. зав. по АХР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авлова Т.Н.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ший воспитатель 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урова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.Ф.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07.04.2025гпо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0.04.2025г</a:t>
                      </a:r>
                      <a:endParaRPr 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  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ализ и оценка достижения целевых показателей проекта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м. зав. по АХР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авлова Т.Н.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ший воспитатель 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урова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.Ф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20.04.2025</a:t>
                      </a:r>
                    </a:p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27.04.2025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597656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60</TotalTime>
  <Words>895</Words>
  <Application>Microsoft Office PowerPoint</Application>
  <PresentationFormat>Экран (4:3)</PresentationFormat>
  <Paragraphs>178</Paragraphs>
  <Slides>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4" baseType="lpstr">
      <vt:lpstr>Arial</vt:lpstr>
      <vt:lpstr>Calibri</vt:lpstr>
      <vt:lpstr>Times New Roman</vt:lpstr>
      <vt:lpstr>Тема Office</vt:lpstr>
      <vt:lpstr>think-cell Slide</vt:lpstr>
      <vt:lpstr>Челябинская область</vt:lpstr>
      <vt:lpstr>Презентация PowerPoint</vt:lpstr>
      <vt:lpstr>Челябинская область</vt:lpstr>
      <vt:lpstr>Челябинская область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Анастасия Прудникова</cp:lastModifiedBy>
  <cp:revision>156</cp:revision>
  <cp:lastPrinted>2019-04-25T09:14:46Z</cp:lastPrinted>
  <dcterms:created xsi:type="dcterms:W3CDTF">2018-08-20T14:01:12Z</dcterms:created>
  <dcterms:modified xsi:type="dcterms:W3CDTF">2025-05-13T06:18:08Z</dcterms:modified>
</cp:coreProperties>
</file>